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18" autoAdjust="0"/>
    <p:restoredTop sz="96622" autoAdjust="0"/>
  </p:normalViewPr>
  <p:slideViewPr>
    <p:cSldViewPr snapToGrid="0">
      <p:cViewPr varScale="1">
        <p:scale>
          <a:sx n="117" d="100"/>
          <a:sy n="117" d="100"/>
        </p:scale>
        <p:origin x="139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videntlyai.com/" TargetMode="Externa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sz="2133" dirty="0" err="1"/>
              <a:t>How</a:t>
            </a:r>
            <a:r>
              <a:rPr lang="de-CH" sz="2133" dirty="0"/>
              <a:t> </a:t>
            </a:r>
            <a:r>
              <a:rPr lang="de-CH" sz="2133" dirty="0" err="1"/>
              <a:t>does</a:t>
            </a:r>
            <a:r>
              <a:rPr lang="de-CH" sz="2133" dirty="0"/>
              <a:t> a Decoder Model </a:t>
            </a:r>
            <a:r>
              <a:rPr lang="de-CH" sz="2133" dirty="0" err="1"/>
              <a:t>work</a:t>
            </a:r>
            <a:r>
              <a:rPr lang="de-CH" sz="2133" dirty="0"/>
              <a:t> ?</a:t>
            </a:r>
            <a:endParaRPr lang="en-CH" sz="2133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/>
              <a:t>Inference on GPU only</a:t>
            </a:r>
            <a:endParaRPr b="1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b="1" dirty="0"/>
              <a:t>dedicated inference server</a:t>
            </a:r>
            <a:endParaRPr b="1" dirty="0"/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The future is already here, it is just not evenly distributed</a:t>
            </a:r>
          </a:p>
          <a:p>
            <a:pPr algn="r"/>
            <a:r>
              <a:rPr lang="en-US" sz="2400" dirty="0"/>
              <a:t>- William </a:t>
            </a:r>
            <a:r>
              <a:rPr lang="en-US" sz="2400" dirty="0" err="1"/>
              <a:t>Gibbson</a:t>
            </a:r>
            <a:endParaRPr lang="en-US" sz="2400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b="1" dirty="0">
                <a:solidFill>
                  <a:srgbClr val="212121"/>
                </a:solidFill>
              </a:rPr>
              <a:t>Native support for 4 Bit resolution </a:t>
            </a:r>
            <a:endParaRPr b="1" dirty="0">
              <a:solidFill>
                <a:srgbClr val="212121"/>
              </a:solidFill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4823513" y="3609604"/>
            <a:ext cx="560762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5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147318" y="2976568"/>
            <a:ext cx="1714764" cy="974355"/>
            <a:chOff x="1001168" y="2293601"/>
            <a:chExt cx="1286073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001168" y="2678118"/>
              <a:ext cx="128607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779583" y="531263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b="1" dirty="0" err="1"/>
              <a:t>DeepEval</a:t>
            </a:r>
            <a:r>
              <a:rPr lang="de-CH" b="1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</a:t>
            </a:r>
            <a:r>
              <a:rPr lang="de-CH" dirty="0">
                <a:hlinkClick r:id="rId2"/>
              </a:rPr>
              <a:t>https://www.evidentlyai.com/</a:t>
            </a:r>
            <a:endParaRPr lang="de-CH" dirty="0"/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indent="-411470">
              <a:buSzPct val="100000"/>
            </a:pPr>
            <a:r>
              <a:rPr lang="en" dirty="0"/>
              <a:t>Evaluation:  </a:t>
            </a:r>
            <a:r>
              <a:rPr lang="en" u="sng" dirty="0">
                <a:solidFill>
                  <a:schemeClr val="hlink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b="1" dirty="0"/>
              <a:t>Llama, Mistral or OpenAI GPT</a:t>
            </a:r>
            <a:endParaRPr sz="1600" b="1" dirty="0"/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36</Words>
  <Application>Microsoft Office PowerPoint</Application>
  <PresentationFormat>Widescreen</PresentationFormat>
  <Paragraphs>501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ture</vt:lpstr>
      <vt:lpstr>System Archite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44</cp:revision>
  <dcterms:created xsi:type="dcterms:W3CDTF">2019-10-15T07:31:09Z</dcterms:created>
  <dcterms:modified xsi:type="dcterms:W3CDTF">2024-08-28T13:45:33Z</dcterms:modified>
</cp:coreProperties>
</file>